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Default Extension="wdp" ContentType="image/vnd.ms-photo"/>
  <Override PartName="/ppt/commentAuthors.xml" ContentType="application/vnd.openxmlformats-officedocument.presentationml.commentAuthors+xml"/>
  <Default Extension="gif" ContentType="image/gif"/>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diagrams/data1.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varScale="1">
        <p:scale>
          <a:sx n="76" d="100"/>
          <a:sy n="76" d="100"/>
        </p:scale>
        <p:origin x="-102" y="-37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CAB8C65F-80BD-4F77-BAB1-263B314301EC}" type="presOf" srcId="{A911B4F7-8BC9-47D7-9642-A633630B2A46}" destId="{7CE3F8E3-8C1C-421D-98A7-8FA69EF747B1}"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9B38B6DE-04C6-4C12-ADCE-BBE11D2B3F4C}" srcId="{E214BA6D-6E14-4C83-A785-B4FF1581D05E}" destId="{A911B4F7-8BC9-47D7-9642-A633630B2A46}" srcOrd="0" destOrd="0" parTransId="{8D5408A1-1638-4F9F-AA8B-CC4D59B50ACA}" sibTransId="{4EC37A6F-9EFF-487C-B57D-353931C1D383}"/>
    <dgm:cxn modelId="{A3CD0832-9689-4028-BD60-CB681D6A04E9}" type="presOf" srcId="{63B2E526-0BFE-4FA5-A8D7-298406FAE965}" destId="{F32D151A-7816-4D8F-AF44-C36440897AD6}"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73A16509-1765-4041-B0ED-4DF964645DA7}" type="presOf" srcId="{60526FAA-63B2-4ADE-AAB0-F298E6F23F64}" destId="{44CE7E4B-B570-41DA-97BE-9F7D5574F4E3}" srcOrd="1"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15E9255D-F264-4FF3-A457-4FE4DFA7BC18}" srcId="{4BA94C8C-63E7-4819-9483-BDD6924D3746}" destId="{63B2E526-0BFE-4FA5-A8D7-298406FAE965}" srcOrd="0" destOrd="0" parTransId="{57A5F5D4-98C2-4C16-9F39-F6287D891ABE}" sibTransId="{1E4685F7-B719-48A5-8C55-EDBA33AD99D6}"/>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C6284C04-F373-421D-B00C-951E83B91677}" type="presOf" srcId="{A911B4F7-8BC9-47D7-9642-A633630B2A46}" destId="{86DDBEE2-8B91-44ED-B629-4631F9E18A1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9B8F273A-7734-4F66-9B24-9C396369A824}" type="presOf" srcId="{60526FAA-63B2-4ADE-AAB0-F298E6F23F64}" destId="{358BADB0-A89A-48CE-B619-DA3839D44E0F}" srcOrd="0" destOrd="0" presId="urn:microsoft.com/office/officeart/2005/8/layout/hProcess4"/>
    <dgm:cxn modelId="{1277ADD3-18CB-4A79-A6A0-F531EAD63892}" type="presOf" srcId="{19A2954C-5C74-4380-B53D-3134DFD2BD93}" destId="{CDCAD455-EB6B-402B-B181-8BA63311810D}" srcOrd="0" destOrd="0"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CF1C8B41-3EE3-49BA-87CA-7C17A5407209}" srcId="{AED6E543-D1E5-49FA-8209-021D517975D8}" destId="{437AB23B-13B0-4AE3-924E-BFAE5EAE00A9}" srcOrd="0" destOrd="0" parTransId="{39F77678-62E8-4A19-A41A-E19A68EAA443}" sibTransId="{4DEF7991-DB3B-4EFB-B409-20A96B442569}"/>
    <dgm:cxn modelId="{458F19E9-3288-4B1D-B6EB-B59DC6233E61}" type="presOf" srcId="{AED6E543-D1E5-49FA-8209-021D517975D8}" destId="{625D5B61-73EB-4687-B366-E6F70F0FDF74}"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F3B1C539-6EB3-49AC-9439-6E0ACBED773E}" srcId="{437AB23B-13B0-4AE3-924E-BFAE5EAE00A9}" destId="{60526FAA-63B2-4ADE-AAB0-F298E6F23F64}" srcOrd="0" destOrd="0" parTransId="{003CB98F-C436-430F-8E2B-DFED7A3DE3CA}" sibTransId="{05924E85-815B-4F4E-9231-7F0B8C8D17BB}"/>
    <dgm:cxn modelId="{D0450FDA-BC76-47C2-988D-45F9EB26A779}" type="presOf" srcId="{8A8884EC-BED0-4A5D-9FB1-F77856440A7A}" destId="{7CE3F8E3-8C1C-421D-98A7-8FA69EF747B1}" srcOrd="1" destOrd="1"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587048" y="1894439"/>
        <a:ext cx="2114504" cy="1266604"/>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49227" y="3148984"/>
        <a:ext cx="1825435" cy="725915"/>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784139" y="2257908"/>
        <a:ext cx="3272414" cy="1330844"/>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40401" y="1411473"/>
        <a:ext cx="2000804" cy="966955"/>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59081" y="1910166"/>
        <a:ext cx="1890824" cy="1330844"/>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74721" y="3367151"/>
        <a:ext cx="1825435" cy="72591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2/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xmlns=""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2/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xmlns=""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xmlns=""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xmlns=""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xmlns=""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xmlns=""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xmlns=""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e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e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xmlns=""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xmlns=""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xmlns=""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xmlns=""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xmlns=""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xmlns=""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xmlns=""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xmlns=""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xmlns=""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xmlns=""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xmlns=""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xmlns=""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xmlns=""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xmlns=""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xmlns=""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xmlns=""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xmlns=""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xmlns=""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xmlns=""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85</TotalTime>
  <Words>6273</Words>
  <Application>Microsoft Office PowerPoint</Application>
  <PresentationFormat>Произвольный</PresentationFormat>
  <Paragraphs>798</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Слайд 32</vt:lpstr>
      <vt:lpstr>Слайд 33</vt:lpstr>
    </vt:vector>
  </TitlesOfParts>
  <Company>Deloitte &amp; Touch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1</cp:lastModifiedBy>
  <cp:revision>4543</cp:revision>
  <cp:lastPrinted>2018-02-01T09:35:01Z</cp:lastPrinted>
  <dcterms:created xsi:type="dcterms:W3CDTF">2010-08-23T12:41:44Z</dcterms:created>
  <dcterms:modified xsi:type="dcterms:W3CDTF">2018-04-02T07:01:40Z</dcterms:modified>
</cp:coreProperties>
</file>